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7E835C-8DED-4EF1-AE07-E96E0812A8B4}" v="49" dt="2023-03-10T00:13:21.0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37E835C-8DED-4EF1-AE07-E96E0812A8B4}"/>
    <pc:docChg chg="modSld">
      <pc:chgData name="Roberto Gallardo" userId="49a044883f185952" providerId="LiveId" clId="{B37E835C-8DED-4EF1-AE07-E96E0812A8B4}" dt="2023-03-10T00:13:28.978" v="324" actId="1036"/>
      <pc:docMkLst>
        <pc:docMk/>
      </pc:docMkLst>
      <pc:sldChg chg="addSp modSp mod">
        <pc:chgData name="Roberto Gallardo" userId="49a044883f185952" providerId="LiveId" clId="{B37E835C-8DED-4EF1-AE07-E96E0812A8B4}" dt="2023-03-10T00:08:21.414" v="61" actId="1076"/>
        <pc:sldMkLst>
          <pc:docMk/>
          <pc:sldMk cId="1418533539" sldId="271"/>
        </pc:sldMkLst>
        <pc:picChg chg="add mod">
          <ac:chgData name="Roberto Gallardo" userId="49a044883f185952" providerId="LiveId" clId="{B37E835C-8DED-4EF1-AE07-E96E0812A8B4}" dt="2023-03-10T00:08:21.414" v="61" actId="1076"/>
          <ac:picMkLst>
            <pc:docMk/>
            <pc:sldMk cId="1418533539" sldId="271"/>
            <ac:picMk id="6" creationId="{D9D1E7E8-DC1B-926C-CE84-D7172E5068F2}"/>
          </ac:picMkLst>
        </pc:picChg>
      </pc:sldChg>
      <pc:sldChg chg="addSp modSp mod">
        <pc:chgData name="Roberto Gallardo" userId="49a044883f185952" providerId="LiveId" clId="{B37E835C-8DED-4EF1-AE07-E96E0812A8B4}" dt="2023-03-10T00:10:06.806" v="131" actId="1036"/>
        <pc:sldMkLst>
          <pc:docMk/>
          <pc:sldMk cId="2124848710" sldId="281"/>
        </pc:sldMkLst>
        <pc:picChg chg="add mod">
          <ac:chgData name="Roberto Gallardo" userId="49a044883f185952" providerId="LiveId" clId="{B37E835C-8DED-4EF1-AE07-E96E0812A8B4}" dt="2023-03-10T00:10:06.806" v="131" actId="1036"/>
          <ac:picMkLst>
            <pc:docMk/>
            <pc:sldMk cId="2124848710" sldId="281"/>
            <ac:picMk id="6" creationId="{F51B6BB4-8080-981B-90C5-9F3FAAEF24CC}"/>
          </ac:picMkLst>
        </pc:picChg>
      </pc:sldChg>
      <pc:sldChg chg="addSp modSp mod">
        <pc:chgData name="Roberto Gallardo" userId="49a044883f185952" providerId="LiveId" clId="{B37E835C-8DED-4EF1-AE07-E96E0812A8B4}" dt="2023-03-10T00:10:22.755" v="138" actId="1035"/>
        <pc:sldMkLst>
          <pc:docMk/>
          <pc:sldMk cId="2028175529" sldId="282"/>
        </pc:sldMkLst>
        <pc:picChg chg="add mod">
          <ac:chgData name="Roberto Gallardo" userId="49a044883f185952" providerId="LiveId" clId="{B37E835C-8DED-4EF1-AE07-E96E0812A8B4}" dt="2023-03-10T00:10:22.755" v="138" actId="1035"/>
          <ac:picMkLst>
            <pc:docMk/>
            <pc:sldMk cId="2028175529" sldId="282"/>
            <ac:picMk id="7" creationId="{BA2A2BCC-5622-DB63-E5D0-E1C1810679D1}"/>
          </ac:picMkLst>
        </pc:picChg>
      </pc:sldChg>
      <pc:sldChg chg="addSp modSp mod">
        <pc:chgData name="Roberto Gallardo" userId="49a044883f185952" providerId="LiveId" clId="{B37E835C-8DED-4EF1-AE07-E96E0812A8B4}" dt="2023-03-10T00:10:41.409" v="170" actId="1035"/>
        <pc:sldMkLst>
          <pc:docMk/>
          <pc:sldMk cId="1326517747" sldId="283"/>
        </pc:sldMkLst>
        <pc:picChg chg="add mod">
          <ac:chgData name="Roberto Gallardo" userId="49a044883f185952" providerId="LiveId" clId="{B37E835C-8DED-4EF1-AE07-E96E0812A8B4}" dt="2023-03-10T00:10:41.409" v="170" actId="1035"/>
          <ac:picMkLst>
            <pc:docMk/>
            <pc:sldMk cId="1326517747" sldId="283"/>
            <ac:picMk id="7" creationId="{A9B40427-FD49-440A-0AFB-F139371651B7}"/>
          </ac:picMkLst>
        </pc:picChg>
      </pc:sldChg>
      <pc:sldChg chg="addSp modSp mod">
        <pc:chgData name="Roberto Gallardo" userId="49a044883f185952" providerId="LiveId" clId="{B37E835C-8DED-4EF1-AE07-E96E0812A8B4}" dt="2023-03-10T00:10:56.578" v="194" actId="1036"/>
        <pc:sldMkLst>
          <pc:docMk/>
          <pc:sldMk cId="783739251" sldId="284"/>
        </pc:sldMkLst>
        <pc:picChg chg="add mod">
          <ac:chgData name="Roberto Gallardo" userId="49a044883f185952" providerId="LiveId" clId="{B37E835C-8DED-4EF1-AE07-E96E0812A8B4}" dt="2023-03-10T00:10:56.578" v="194" actId="1036"/>
          <ac:picMkLst>
            <pc:docMk/>
            <pc:sldMk cId="783739251" sldId="284"/>
            <ac:picMk id="7" creationId="{5CAEE340-5D0A-B627-217D-D4303AE29304}"/>
          </ac:picMkLst>
        </pc:picChg>
      </pc:sldChg>
      <pc:sldChg chg="addSp modSp mod">
        <pc:chgData name="Roberto Gallardo" userId="49a044883f185952" providerId="LiveId" clId="{B37E835C-8DED-4EF1-AE07-E96E0812A8B4}" dt="2023-03-10T00:11:11.922" v="207" actId="1036"/>
        <pc:sldMkLst>
          <pc:docMk/>
          <pc:sldMk cId="1676122233" sldId="285"/>
        </pc:sldMkLst>
        <pc:picChg chg="add mod">
          <ac:chgData name="Roberto Gallardo" userId="49a044883f185952" providerId="LiveId" clId="{B37E835C-8DED-4EF1-AE07-E96E0812A8B4}" dt="2023-03-10T00:11:11.922" v="207" actId="1036"/>
          <ac:picMkLst>
            <pc:docMk/>
            <pc:sldMk cId="1676122233" sldId="285"/>
            <ac:picMk id="7" creationId="{BF36B723-8481-55B1-FA6E-695BCC47C543}"/>
          </ac:picMkLst>
        </pc:picChg>
      </pc:sldChg>
      <pc:sldChg chg="addSp modSp mod">
        <pc:chgData name="Roberto Gallardo" userId="49a044883f185952" providerId="LiveId" clId="{B37E835C-8DED-4EF1-AE07-E96E0812A8B4}" dt="2023-03-10T00:11:33.261" v="219" actId="1036"/>
        <pc:sldMkLst>
          <pc:docMk/>
          <pc:sldMk cId="3100398757" sldId="286"/>
        </pc:sldMkLst>
        <pc:picChg chg="add mod">
          <ac:chgData name="Roberto Gallardo" userId="49a044883f185952" providerId="LiveId" clId="{B37E835C-8DED-4EF1-AE07-E96E0812A8B4}" dt="2023-03-10T00:11:33.261" v="219" actId="1036"/>
          <ac:picMkLst>
            <pc:docMk/>
            <pc:sldMk cId="3100398757" sldId="286"/>
            <ac:picMk id="7" creationId="{B3021C13-40A6-CB54-D07D-98CBF901767C}"/>
          </ac:picMkLst>
        </pc:picChg>
      </pc:sldChg>
      <pc:sldChg chg="addSp modSp mod">
        <pc:chgData name="Roberto Gallardo" userId="49a044883f185952" providerId="LiveId" clId="{B37E835C-8DED-4EF1-AE07-E96E0812A8B4}" dt="2023-03-10T00:11:50.299" v="237" actId="1036"/>
        <pc:sldMkLst>
          <pc:docMk/>
          <pc:sldMk cId="1546475425" sldId="287"/>
        </pc:sldMkLst>
        <pc:picChg chg="add mod">
          <ac:chgData name="Roberto Gallardo" userId="49a044883f185952" providerId="LiveId" clId="{B37E835C-8DED-4EF1-AE07-E96E0812A8B4}" dt="2023-03-10T00:11:50.299" v="237" actId="1036"/>
          <ac:picMkLst>
            <pc:docMk/>
            <pc:sldMk cId="1546475425" sldId="287"/>
            <ac:picMk id="7" creationId="{2C02B494-E5DD-9D01-2195-EF2F54C70C5E}"/>
          </ac:picMkLst>
        </pc:picChg>
      </pc:sldChg>
      <pc:sldChg chg="addSp modSp mod">
        <pc:chgData name="Roberto Gallardo" userId="49a044883f185952" providerId="LiveId" clId="{B37E835C-8DED-4EF1-AE07-E96E0812A8B4}" dt="2023-03-10T00:12:26.186" v="268" actId="1035"/>
        <pc:sldMkLst>
          <pc:docMk/>
          <pc:sldMk cId="1380517306" sldId="288"/>
        </pc:sldMkLst>
        <pc:picChg chg="add mod">
          <ac:chgData name="Roberto Gallardo" userId="49a044883f185952" providerId="LiveId" clId="{B37E835C-8DED-4EF1-AE07-E96E0812A8B4}" dt="2023-03-10T00:12:26.186" v="268" actId="1035"/>
          <ac:picMkLst>
            <pc:docMk/>
            <pc:sldMk cId="1380517306" sldId="288"/>
            <ac:picMk id="7" creationId="{F01BEF0B-70A2-5DDD-BE7F-7685016EADF6}"/>
          </ac:picMkLst>
        </pc:picChg>
      </pc:sldChg>
      <pc:sldChg chg="addSp modSp mod">
        <pc:chgData name="Roberto Gallardo" userId="49a044883f185952" providerId="LiveId" clId="{B37E835C-8DED-4EF1-AE07-E96E0812A8B4}" dt="2023-03-10T00:12:43.094" v="278" actId="1035"/>
        <pc:sldMkLst>
          <pc:docMk/>
          <pc:sldMk cId="1388671151" sldId="289"/>
        </pc:sldMkLst>
        <pc:picChg chg="add mod">
          <ac:chgData name="Roberto Gallardo" userId="49a044883f185952" providerId="LiveId" clId="{B37E835C-8DED-4EF1-AE07-E96E0812A8B4}" dt="2023-03-10T00:12:43.094" v="278" actId="1035"/>
          <ac:picMkLst>
            <pc:docMk/>
            <pc:sldMk cId="1388671151" sldId="289"/>
            <ac:picMk id="7" creationId="{3F88523A-FB25-1B9D-42AE-000BDE07B489}"/>
          </ac:picMkLst>
        </pc:picChg>
      </pc:sldChg>
      <pc:sldChg chg="addSp modSp mod">
        <pc:chgData name="Roberto Gallardo" userId="49a044883f185952" providerId="LiveId" clId="{B37E835C-8DED-4EF1-AE07-E96E0812A8B4}" dt="2023-03-10T00:13:14.434" v="309" actId="1035"/>
        <pc:sldMkLst>
          <pc:docMk/>
          <pc:sldMk cId="2355376039" sldId="290"/>
        </pc:sldMkLst>
        <pc:picChg chg="add mod">
          <ac:chgData name="Roberto Gallardo" userId="49a044883f185952" providerId="LiveId" clId="{B37E835C-8DED-4EF1-AE07-E96E0812A8B4}" dt="2023-03-10T00:13:14.434" v="309" actId="1035"/>
          <ac:picMkLst>
            <pc:docMk/>
            <pc:sldMk cId="2355376039" sldId="290"/>
            <ac:picMk id="8" creationId="{644AB829-75F6-422D-DE6D-B1E4E80B9E10}"/>
          </ac:picMkLst>
        </pc:picChg>
      </pc:sldChg>
      <pc:sldChg chg="addSp modSp mod">
        <pc:chgData name="Roberto Gallardo" userId="49a044883f185952" providerId="LiveId" clId="{B37E835C-8DED-4EF1-AE07-E96E0812A8B4}" dt="2023-03-10T00:13:28.978" v="324" actId="1036"/>
        <pc:sldMkLst>
          <pc:docMk/>
          <pc:sldMk cId="3757257295" sldId="291"/>
        </pc:sldMkLst>
        <pc:picChg chg="add mod">
          <ac:chgData name="Roberto Gallardo" userId="49a044883f185952" providerId="LiveId" clId="{B37E835C-8DED-4EF1-AE07-E96E0812A8B4}" dt="2023-03-10T00:13:28.978" v="324" actId="1036"/>
          <ac:picMkLst>
            <pc:docMk/>
            <pc:sldMk cId="3757257295" sldId="291"/>
            <ac:picMk id="8" creationId="{1F2D9DDA-BE94-DC1F-833B-246D75AC2577}"/>
          </ac:picMkLst>
        </pc:picChg>
      </pc:sldChg>
      <pc:sldChg chg="addSp modSp mod">
        <pc:chgData name="Roberto Gallardo" userId="49a044883f185952" providerId="LiveId" clId="{B37E835C-8DED-4EF1-AE07-E96E0812A8B4}" dt="2023-03-10T00:12:07.182" v="256" actId="1035"/>
        <pc:sldMkLst>
          <pc:docMk/>
          <pc:sldMk cId="1259856727" sldId="292"/>
        </pc:sldMkLst>
        <pc:picChg chg="add mod">
          <ac:chgData name="Roberto Gallardo" userId="49a044883f185952" providerId="LiveId" clId="{B37E835C-8DED-4EF1-AE07-E96E0812A8B4}" dt="2023-03-10T00:12:07.182" v="256" actId="1035"/>
          <ac:picMkLst>
            <pc:docMk/>
            <pc:sldMk cId="1259856727" sldId="292"/>
            <ac:picMk id="7" creationId="{15FA9CCB-E891-372D-9408-32650582A573}"/>
          </ac:picMkLst>
        </pc:picChg>
      </pc:sldChg>
      <pc:sldChg chg="addSp modSp mod">
        <pc:chgData name="Roberto Gallardo" userId="49a044883f185952" providerId="LiveId" clId="{B37E835C-8DED-4EF1-AE07-E96E0812A8B4}" dt="2023-03-10T00:09:50.832" v="117" actId="1035"/>
        <pc:sldMkLst>
          <pc:docMk/>
          <pc:sldMk cId="3324519687" sldId="293"/>
        </pc:sldMkLst>
        <pc:picChg chg="add mod">
          <ac:chgData name="Roberto Gallardo" userId="49a044883f185952" providerId="LiveId" clId="{B37E835C-8DED-4EF1-AE07-E96E0812A8B4}" dt="2023-03-10T00:09:50.832" v="117" actId="1035"/>
          <ac:picMkLst>
            <pc:docMk/>
            <pc:sldMk cId="3324519687" sldId="293"/>
            <ac:picMk id="7" creationId="{642960A0-34E6-68D5-E775-C905F3A14C9A}"/>
          </ac:picMkLst>
        </pc:picChg>
      </pc:sldChg>
      <pc:sldChg chg="addSp modSp mod">
        <pc:chgData name="Roberto Gallardo" userId="49a044883f185952" providerId="LiveId" clId="{B37E835C-8DED-4EF1-AE07-E96E0812A8B4}" dt="2023-03-10T00:09:17.130" v="90" actId="1076"/>
        <pc:sldMkLst>
          <pc:docMk/>
          <pc:sldMk cId="3256182630" sldId="295"/>
        </pc:sldMkLst>
        <pc:picChg chg="add mod">
          <ac:chgData name="Roberto Gallardo" userId="49a044883f185952" providerId="LiveId" clId="{B37E835C-8DED-4EF1-AE07-E96E0812A8B4}" dt="2023-03-10T00:09:17.130" v="90" actId="1076"/>
          <ac:picMkLst>
            <pc:docMk/>
            <pc:sldMk cId="3256182630" sldId="295"/>
            <ac:picMk id="7" creationId="{15577AC7-6712-09AF-B4B2-5F78F6957631}"/>
          </ac:picMkLst>
        </pc:picChg>
      </pc:sldChg>
      <pc:sldChg chg="addSp modSp mod">
        <pc:chgData name="Roberto Gallardo" userId="49a044883f185952" providerId="LiveId" clId="{B37E835C-8DED-4EF1-AE07-E96E0812A8B4}" dt="2023-03-10T00:09:36.171" v="108" actId="1035"/>
        <pc:sldMkLst>
          <pc:docMk/>
          <pc:sldMk cId="4057156843" sldId="296"/>
        </pc:sldMkLst>
        <pc:picChg chg="add mod">
          <ac:chgData name="Roberto Gallardo" userId="49a044883f185952" providerId="LiveId" clId="{B37E835C-8DED-4EF1-AE07-E96E0812A8B4}" dt="2023-03-10T00:09:36.171" v="108" actId="1035"/>
          <ac:picMkLst>
            <pc:docMk/>
            <pc:sldMk cId="4057156843" sldId="296"/>
            <ac:picMk id="7" creationId="{7BCD7F69-14CB-0554-A03B-3D1A5DD87A78}"/>
          </ac:picMkLst>
        </pc:picChg>
      </pc:sldChg>
      <pc:sldChg chg="addSp modSp mod">
        <pc:chgData name="Roberto Gallardo" userId="49a044883f185952" providerId="LiveId" clId="{B37E835C-8DED-4EF1-AE07-E96E0812A8B4}" dt="2023-03-10T00:08:57.334" v="79" actId="1036"/>
        <pc:sldMkLst>
          <pc:docMk/>
          <pc:sldMk cId="2080110827" sldId="297"/>
        </pc:sldMkLst>
        <pc:picChg chg="add mod">
          <ac:chgData name="Roberto Gallardo" userId="49a044883f185952" providerId="LiveId" clId="{B37E835C-8DED-4EF1-AE07-E96E0812A8B4}" dt="2023-03-10T00:08:57.334" v="79" actId="1036"/>
          <ac:picMkLst>
            <pc:docMk/>
            <pc:sldMk cId="2080110827" sldId="297"/>
            <ac:picMk id="6" creationId="{DFBEAA43-F8D0-A554-1434-FB96587ACD87}"/>
          </ac:picMkLst>
        </pc:picChg>
      </pc:sldChg>
      <pc:sldChg chg="addSp modSp mod">
        <pc:chgData name="Roberto Gallardo" userId="49a044883f185952" providerId="LiveId" clId="{B37E835C-8DED-4EF1-AE07-E96E0812A8B4}" dt="2023-03-10T00:08:37.486" v="68" actId="1076"/>
        <pc:sldMkLst>
          <pc:docMk/>
          <pc:sldMk cId="1532666867" sldId="298"/>
        </pc:sldMkLst>
        <pc:picChg chg="add mod">
          <ac:chgData name="Roberto Gallardo" userId="49a044883f185952" providerId="LiveId" clId="{B37E835C-8DED-4EF1-AE07-E96E0812A8B4}" dt="2023-03-10T00:08:37.486" v="68" actId="1076"/>
          <ac:picMkLst>
            <pc:docMk/>
            <pc:sldMk cId="1532666867" sldId="298"/>
            <ac:picMk id="6" creationId="{15CE8F3D-4108-FD6C-2DD3-09EC660F1349}"/>
          </ac:picMkLst>
        </pc:picChg>
      </pc:sldChg>
      <pc:sldChg chg="addSp modSp mod">
        <pc:chgData name="Roberto Gallardo" userId="49a044883f185952" providerId="LiveId" clId="{B37E835C-8DED-4EF1-AE07-E96E0812A8B4}" dt="2023-03-10T00:12:56.326" v="291" actId="1035"/>
        <pc:sldMkLst>
          <pc:docMk/>
          <pc:sldMk cId="1951376777" sldId="299"/>
        </pc:sldMkLst>
        <pc:picChg chg="add mod">
          <ac:chgData name="Roberto Gallardo" userId="49a044883f185952" providerId="LiveId" clId="{B37E835C-8DED-4EF1-AE07-E96E0812A8B4}" dt="2023-03-10T00:12:56.326" v="291" actId="1035"/>
          <ac:picMkLst>
            <pc:docMk/>
            <pc:sldMk cId="1951376777" sldId="299"/>
            <ac:picMk id="7" creationId="{7BED9C3B-E7BE-8478-1705-18654F055EE3}"/>
          </ac:picMkLst>
        </pc:picChg>
      </pc:sldChg>
      <pc:sldChg chg="modSp mod">
        <pc:chgData name="Roberto Gallardo" userId="49a044883f185952" providerId="LiveId" clId="{B37E835C-8DED-4EF1-AE07-E96E0812A8B4}" dt="2023-02-25T19:42:50.447" v="53" actId="14100"/>
        <pc:sldMkLst>
          <pc:docMk/>
          <pc:sldMk cId="2366022307" sldId="306"/>
        </pc:sldMkLst>
        <pc:spChg chg="mod">
          <ac:chgData name="Roberto Gallardo" userId="49a044883f185952" providerId="LiveId" clId="{B37E835C-8DED-4EF1-AE07-E96E0812A8B4}" dt="2023-02-25T19:42:35.654" v="33" actId="1035"/>
          <ac:spMkLst>
            <pc:docMk/>
            <pc:sldMk cId="2366022307" sldId="306"/>
            <ac:spMk id="11" creationId="{09F5AE19-B4E3-7788-F25F-CDA80D596DAF}"/>
          </ac:spMkLst>
        </pc:spChg>
        <pc:grpChg chg="mod">
          <ac:chgData name="Roberto Gallardo" userId="49a044883f185952" providerId="LiveId" clId="{B37E835C-8DED-4EF1-AE07-E96E0812A8B4}" dt="2023-02-25T19:42:28.048" v="14" actId="1037"/>
          <ac:grpSpMkLst>
            <pc:docMk/>
            <pc:sldMk cId="2366022307" sldId="306"/>
            <ac:grpSpMk id="6" creationId="{4BC0EAD3-A621-359E-F822-1BC272A15D80}"/>
          </ac:grpSpMkLst>
        </pc:grpChg>
        <pc:cxnChg chg="mod">
          <ac:chgData name="Roberto Gallardo" userId="49a044883f185952" providerId="LiveId" clId="{B37E835C-8DED-4EF1-AE07-E96E0812A8B4}" dt="2023-02-25T19:42:45.752" v="52" actId="1036"/>
          <ac:cxnSpMkLst>
            <pc:docMk/>
            <pc:sldMk cId="2366022307" sldId="306"/>
            <ac:cxnSpMk id="27" creationId="{F0CF8142-8895-D0A8-A662-E40568742508}"/>
          </ac:cxnSpMkLst>
        </pc:cxnChg>
        <pc:cxnChg chg="mod">
          <ac:chgData name="Roberto Gallardo" userId="49a044883f185952" providerId="LiveId" clId="{B37E835C-8DED-4EF1-AE07-E96E0812A8B4}" dt="2023-02-25T19:42:50.447" v="53" actId="14100"/>
          <ac:cxnSpMkLst>
            <pc:docMk/>
            <pc:sldMk cId="2366022307" sldId="306"/>
            <ac:cxnSpMk id="28" creationId="{15C28C80-F0E1-159F-F103-CEA53436F6F9}"/>
          </ac:cxnSpMkLst>
        </pc:cxnChg>
        <pc:cxnChg chg="mod">
          <ac:chgData name="Roberto Gallardo" userId="49a044883f185952" providerId="LiveId" clId="{B37E835C-8DED-4EF1-AE07-E96E0812A8B4}" dt="2023-02-25T19:42:41.135" v="34"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Robes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4BB77E6-AB46-EBA2-41D5-485393CBD52D}"/>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59A3BFD-BD5C-3729-170A-9734AD1F5302}"/>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D9D1E7E8-DC1B-926C-CE84-D7172E5068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6341" y="1028700"/>
            <a:ext cx="7583118" cy="5362456"/>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5CE8F3D-4108-FD6C-2DD3-09EC660F1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DFBEAA43-F8D0-A554-1434-FB96587ACD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37409"/>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1EA0E9B-475D-8E0E-6C44-CD3869EA9DDA}"/>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Schematic, map&#10;&#10;Description automatically generated">
            <a:extLst>
              <a:ext uri="{FF2B5EF4-FFF2-40B4-BE49-F238E27FC236}">
                <a16:creationId xmlns:a16="http://schemas.microsoft.com/office/drawing/2014/main" id="{15577AC7-6712-09AF-B4B2-5F78F69576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30"/>
            <a:ext cx="6403975" cy="4528616"/>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1BBAFF4-F64B-D1B7-5E33-BCA00AF9D38E}"/>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7BCD7F69-14CB-0554-A03B-3D1A5DD87A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23"/>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501F399-5E06-FA0B-428D-06C19C46F0BA}"/>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a:extLst>
              <a:ext uri="{FF2B5EF4-FFF2-40B4-BE49-F238E27FC236}">
                <a16:creationId xmlns:a16="http://schemas.microsoft.com/office/drawing/2014/main" id="{642960A0-34E6-68D5-E775-C905F3A14C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7"/>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E75FEFA-18C0-EBC7-88A5-DACDDA2267F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chart&#10;&#10;Description automatically generated">
            <a:extLst>
              <a:ext uri="{FF2B5EF4-FFF2-40B4-BE49-F238E27FC236}">
                <a16:creationId xmlns:a16="http://schemas.microsoft.com/office/drawing/2014/main" id="{F51B6BB4-8080-981B-90C5-9F3FAAEF24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23"/>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B586A29-DE35-FA72-3962-96C264DE4EC5}"/>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BA2A2BCC-5622-DB63-E5D0-E1C1810679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20"/>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547B9A0-4B05-BA86-0664-EB676F82C14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A9B40427-FD49-440A-0AFB-F139371651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0712"/>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8C3C10F9-1C23-EF70-6589-40C317D91D4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5CAEE340-5D0A-B627-217D-D4303AE29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4441"/>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4E155E6E-7A7E-1B97-C1E6-98C332A8789E}"/>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BF36B723-8481-55B1-FA6E-695BCC47C5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23"/>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B90F79BF-EC08-14BE-7485-7A59F291E02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urface chart&#10;&#10;Description automatically generated">
            <a:extLst>
              <a:ext uri="{FF2B5EF4-FFF2-40B4-BE49-F238E27FC236}">
                <a16:creationId xmlns:a16="http://schemas.microsoft.com/office/drawing/2014/main" id="{B3021C13-40A6-CB54-D07D-98CBF90176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20"/>
            <a:ext cx="6400801"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5DB60F3B-3B6A-1B8A-6806-9751993EFE9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low confidence">
            <a:extLst>
              <a:ext uri="{FF2B5EF4-FFF2-40B4-BE49-F238E27FC236}">
                <a16:creationId xmlns:a16="http://schemas.microsoft.com/office/drawing/2014/main" id="{2C02B494-E5DD-9D01-2195-EF2F54C70C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30"/>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8F700294-8287-739A-B40A-95B478F46365}"/>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5FA9CCB-E891-372D-9408-32650582A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9716"/>
            <a:ext cx="6392950" cy="452082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DB4532A6-8F2B-6279-6D3D-3860555D2250}"/>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10;&#10;Description automatically generated with low confidence">
            <a:extLst>
              <a:ext uri="{FF2B5EF4-FFF2-40B4-BE49-F238E27FC236}">
                <a16:creationId xmlns:a16="http://schemas.microsoft.com/office/drawing/2014/main" id="{F01BEF0B-70A2-5DDD-BE7F-7685016EAD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7"/>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4E9A3279-D603-E164-94CE-C31EFCA2A39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3F88523A-FB25-1B9D-42AE-000BDE07B4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4166"/>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85659509-D456-2EE0-5992-8BC5F3D20940}"/>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7BED9C3B-E7BE-8478-1705-18654F055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599"/>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B1B42139-FFF9-DDA6-4F8C-2F5EDB026C7B}"/>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Chart&#10;&#10;Description automatically generated with medium confidence">
            <a:extLst>
              <a:ext uri="{FF2B5EF4-FFF2-40B4-BE49-F238E27FC236}">
                <a16:creationId xmlns:a16="http://schemas.microsoft.com/office/drawing/2014/main" id="{644AB829-75F6-422D-DE6D-B1E4E80B9E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561"/>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CE59586-F140-7B1F-BF9D-65BD6776DBD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BD690576-2F13-02B8-EE6E-F6214CB66FF7}"/>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10;&#10;Description automatically generated with medium confidence">
            <a:extLst>
              <a:ext uri="{FF2B5EF4-FFF2-40B4-BE49-F238E27FC236}">
                <a16:creationId xmlns:a16="http://schemas.microsoft.com/office/drawing/2014/main" id="{1F2D9DDA-BE94-DC1F-833B-246D75AC2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530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1924DF2-9CE8-C0D9-0DB0-3809CAA57FF0}"/>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DBE72FA-A4DD-D419-2677-A466E6B9147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EB034F-5464-73BB-4CEE-E793147E1028}"/>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9002868" y="2725519"/>
            <a:ext cx="1198148" cy="2233563"/>
            <a:chOff x="10485745" y="2648037"/>
            <a:chExt cx="1198148" cy="22335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079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480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48037"/>
              <a:ext cx="0" cy="5598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00486"/>
              <a:ext cx="0" cy="7811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696275"/>
            <a:ext cx="1198148" cy="2200527"/>
            <a:chOff x="2775759" y="2291483"/>
            <a:chExt cx="1198148" cy="22005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705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63078"/>
              <a:ext cx="0" cy="6289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A83BADD-3AFA-39B0-D537-8EB14422DF9C}"/>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9FA86A6-BE8F-309B-9C77-7D1EF150219C}"/>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ACD39DE-4F15-09A9-1627-95BC98A50E1A}"/>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69F53101-3DD0-4826-9D07-63397579A4A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A7BC0D28-8714-56F8-F057-D4D223E07A0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0FB5E8F1-DCD1-7BCD-31EE-AC5E11366617}"/>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082D1D34-2DAC-2C52-B303-4AD77C0B887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470318F-AE5D-A592-F48A-4D5AEDA3A027}"/>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74</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5</cp:revision>
  <dcterms:created xsi:type="dcterms:W3CDTF">2022-07-04T13:32:28Z</dcterms:created>
  <dcterms:modified xsi:type="dcterms:W3CDTF">2023-03-10T00:13:31Z</dcterms:modified>
</cp:coreProperties>
</file>